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3343" r:id="rId2"/>
    <p:sldId id="2147375032" r:id="rId3"/>
    <p:sldId id="2145705903" r:id="rId4"/>
    <p:sldId id="256" r:id="rId5"/>
    <p:sldId id="2147308971" r:id="rId6"/>
    <p:sldId id="2145705887" r:id="rId7"/>
    <p:sldId id="340" r:id="rId8"/>
    <p:sldId id="3346" r:id="rId9"/>
    <p:sldId id="258" r:id="rId10"/>
    <p:sldId id="265" r:id="rId11"/>
    <p:sldId id="673" r:id="rId12"/>
    <p:sldId id="2147375009" r:id="rId13"/>
    <p:sldId id="2147375008" r:id="rId14"/>
    <p:sldId id="2147375027" r:id="rId15"/>
    <p:sldId id="2147375038" r:id="rId16"/>
    <p:sldId id="2147375039" r:id="rId17"/>
    <p:sldId id="681" r:id="rId18"/>
    <p:sldId id="2145705909" r:id="rId19"/>
    <p:sldId id="2147375037" r:id="rId20"/>
    <p:sldId id="2147375026" r:id="rId21"/>
    <p:sldId id="2147375042" r:id="rId22"/>
    <p:sldId id="2145705906" r:id="rId23"/>
    <p:sldId id="2145705907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FBFF"/>
    <a:srgbClr val="0E7838"/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31" autoAdjust="0"/>
    <p:restoredTop sz="96327"/>
  </p:normalViewPr>
  <p:slideViewPr>
    <p:cSldViewPr snapToGrid="0">
      <p:cViewPr varScale="1">
        <p:scale>
          <a:sx n="123" d="100"/>
          <a:sy n="123" d="100"/>
        </p:scale>
        <p:origin x="13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9/2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8FCCFA-C4D0-1E44-B583-A03B2189E5C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405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3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324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97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708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097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8869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9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88691" y="5403391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 Gao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Sep 27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Zhen Gao’s Self-Introduction &amp; Summary of Research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90" y="831779"/>
            <a:ext cx="5204372" cy="5103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878384"/>
            <a:ext cx="5057195" cy="50571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D5B69F0-D2B6-F8D2-865F-9F37C9F9606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D7FCCA-0B75-CB27-24A3-CD3A68CEA344}"/>
              </a:ext>
            </a:extLst>
          </p:cNvPr>
          <p:cNvSpPr txBox="1"/>
          <p:nvPr/>
        </p:nvSpPr>
        <p:spPr>
          <a:xfrm>
            <a:off x="8696924" y="5917423"/>
            <a:ext cx="7457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81D696-E89E-7A0C-6CEA-EBD74FFF208A}"/>
              </a:ext>
            </a:extLst>
          </p:cNvPr>
          <p:cNvSpPr txBox="1"/>
          <p:nvPr/>
        </p:nvSpPr>
        <p:spPr>
          <a:xfrm>
            <a:off x="2749359" y="5915309"/>
            <a:ext cx="5854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PSC</a:t>
            </a:r>
          </a:p>
        </p:txBody>
      </p:sp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25C0B8-A14A-5A6B-EC3F-AD4673FA4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91" y="1034750"/>
            <a:ext cx="5040132" cy="5055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1CCAB2-8771-BB1C-16E5-E8E0CDCA5CE7}"/>
              </a:ext>
            </a:extLst>
          </p:cNvPr>
          <p:cNvSpPr txBox="1"/>
          <p:nvPr/>
        </p:nvSpPr>
        <p:spPr>
          <a:xfrm rot="16200000">
            <a:off x="61251" y="324433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# of DSG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796C92E-BCBD-BF8F-3158-23572ADCBA82}"/>
              </a:ext>
            </a:extLst>
          </p:cNvPr>
          <p:cNvSpPr/>
          <p:nvPr/>
        </p:nvSpPr>
        <p:spPr>
          <a:xfrm>
            <a:off x="5572126" y="1034750"/>
            <a:ext cx="190500" cy="5055200"/>
          </a:xfrm>
          <a:prstGeom prst="round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E1CEEB-FF90-DE7E-1342-FEB92644B976}"/>
              </a:ext>
            </a:extLst>
          </p:cNvPr>
          <p:cNvSpPr txBox="1"/>
          <p:nvPr/>
        </p:nvSpPr>
        <p:spPr>
          <a:xfrm rot="18256686">
            <a:off x="5059087" y="6292625"/>
            <a:ext cx="7861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1">
                    <a:lumMod val="75000"/>
                  </a:schemeClr>
                </a:solidFill>
              </a:rPr>
              <a:t>PTC-518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B36BA8BE-7242-3156-CA17-61EE2F9447E2}"/>
              </a:ext>
            </a:extLst>
          </p:cNvPr>
          <p:cNvGraphicFramePr>
            <a:graphicFrameLocks noGrp="1"/>
          </p:cNvGraphicFramePr>
          <p:nvPr/>
        </p:nvGraphicFramePr>
        <p:xfrm>
          <a:off x="6965713" y="1256030"/>
          <a:ext cx="2753127" cy="1327768"/>
        </p:xfrm>
        <a:graphic>
          <a:graphicData uri="http://schemas.openxmlformats.org/drawingml/2006/table">
            <a:tbl>
              <a:tblPr firstRow="1" bandRow="1"/>
              <a:tblGrid>
                <a:gridCol w="924578">
                  <a:extLst>
                    <a:ext uri="{9D8B030D-6E8A-4147-A177-3AD203B41FA5}">
                      <a16:colId xmlns:a16="http://schemas.microsoft.com/office/drawing/2014/main" val="4236064594"/>
                    </a:ext>
                  </a:extLst>
                </a:gridCol>
                <a:gridCol w="629779">
                  <a:extLst>
                    <a:ext uri="{9D8B030D-6E8A-4147-A177-3AD203B41FA5}">
                      <a16:colId xmlns:a16="http://schemas.microsoft.com/office/drawing/2014/main" val="4024973060"/>
                    </a:ext>
                  </a:extLst>
                </a:gridCol>
                <a:gridCol w="574674">
                  <a:extLst>
                    <a:ext uri="{9D8B030D-6E8A-4147-A177-3AD203B41FA5}">
                      <a16:colId xmlns:a16="http://schemas.microsoft.com/office/drawing/2014/main" val="1063006896"/>
                    </a:ext>
                  </a:extLst>
                </a:gridCol>
                <a:gridCol w="624096">
                  <a:extLst>
                    <a:ext uri="{9D8B030D-6E8A-4147-A177-3AD203B41FA5}">
                      <a16:colId xmlns:a16="http://schemas.microsoft.com/office/drawing/2014/main" val="1516571147"/>
                    </a:ext>
                  </a:extLst>
                </a:gridCol>
              </a:tblGrid>
              <a:tr h="40820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x IC50 dose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>
                          <a:latin typeface="+mj-lt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>
                          <a:latin typeface="+mj-lt"/>
                        </a:rPr>
                        <a:t>(iPSC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NGN2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SY5Y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764903"/>
                  </a:ext>
                </a:extLst>
              </a:tr>
              <a:tr h="37092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/>
                        </a:rPr>
                        <a:t>PTC518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986322"/>
                  </a:ext>
                </a:extLst>
              </a:tr>
              <a:tr h="408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dirty="0" err="1">
                          <a:solidFill>
                            <a:srgbClr val="000000"/>
                          </a:solidFill>
                          <a:latin typeface="+mj-lt"/>
                        </a:rPr>
                        <a:t>Branaplam</a:t>
                      </a:r>
                      <a:endParaRPr lang="en-US" sz="10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6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853794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30CF65B6-E829-E37E-089E-7FE82631D276}"/>
              </a:ext>
            </a:extLst>
          </p:cNvPr>
          <p:cNvSpPr txBox="1"/>
          <p:nvPr/>
        </p:nvSpPr>
        <p:spPr>
          <a:xfrm>
            <a:off x="6877830" y="5769673"/>
            <a:ext cx="329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Aft>
                <a:spcPts val="60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High number of off-targets (~55%) are shared across compounds &amp; scaffold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CA0A68F-1B61-FDFB-84FA-B98A116D9C12}"/>
              </a:ext>
            </a:extLst>
          </p:cNvPr>
          <p:cNvSpPr txBox="1"/>
          <p:nvPr/>
        </p:nvSpPr>
        <p:spPr>
          <a:xfrm>
            <a:off x="6708373" y="5198127"/>
            <a:ext cx="110713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IO-218696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4C0AA6D-B135-D81D-D2C3-0E9A41E22A8D}"/>
              </a:ext>
            </a:extLst>
          </p:cNvPr>
          <p:cNvSpPr txBox="1"/>
          <p:nvPr/>
        </p:nvSpPr>
        <p:spPr>
          <a:xfrm>
            <a:off x="9285161" y="5198127"/>
            <a:ext cx="8504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ranapl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8CC44A8-6C02-CBD0-639D-5C2431697A96}"/>
              </a:ext>
            </a:extLst>
          </p:cNvPr>
          <p:cNvSpPr txBox="1"/>
          <p:nvPr/>
        </p:nvSpPr>
        <p:spPr>
          <a:xfrm>
            <a:off x="8079374" y="2880438"/>
            <a:ext cx="775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TC518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123CEF6-D621-ECB9-551A-1AC06311B455}"/>
              </a:ext>
            </a:extLst>
          </p:cNvPr>
          <p:cNvGrpSpPr/>
          <p:nvPr/>
        </p:nvGrpSpPr>
        <p:grpSpPr>
          <a:xfrm>
            <a:off x="7254971" y="3153278"/>
            <a:ext cx="2457284" cy="2111733"/>
            <a:chOff x="2731604" y="1495508"/>
            <a:chExt cx="2457284" cy="2111733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475EB11-4101-16B3-6DD3-31F57063C27B}"/>
                </a:ext>
              </a:extLst>
            </p:cNvPr>
            <p:cNvSpPr/>
            <p:nvPr/>
          </p:nvSpPr>
          <p:spPr>
            <a:xfrm>
              <a:off x="3208351" y="1495508"/>
              <a:ext cx="1470991" cy="1470991"/>
            </a:xfrm>
            <a:prstGeom prst="ellipse">
              <a:avLst/>
            </a:prstGeom>
            <a:gradFill rotWithShape="1">
              <a:gsLst>
                <a:gs pos="0">
                  <a:srgbClr val="2573BA">
                    <a:tint val="100000"/>
                    <a:shade val="100000"/>
                    <a:satMod val="130000"/>
                  </a:srgbClr>
                </a:gs>
                <a:gs pos="100000">
                  <a:srgbClr val="2573BA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2573B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0AE3EB3-EE26-A972-9A3F-428EC11512DC}"/>
                </a:ext>
              </a:extLst>
            </p:cNvPr>
            <p:cNvSpPr/>
            <p:nvPr/>
          </p:nvSpPr>
          <p:spPr>
            <a:xfrm>
              <a:off x="2731604" y="2136250"/>
              <a:ext cx="1470991" cy="1470991"/>
            </a:xfrm>
            <a:prstGeom prst="ellipse">
              <a:avLst/>
            </a:prstGeom>
            <a:solidFill>
              <a:srgbClr val="7CC3E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D06B9ED-2592-BB57-7517-D29E5C712D98}"/>
                </a:ext>
              </a:extLst>
            </p:cNvPr>
            <p:cNvSpPr/>
            <p:nvPr/>
          </p:nvSpPr>
          <p:spPr>
            <a:xfrm>
              <a:off x="3717897" y="2136250"/>
              <a:ext cx="1470991" cy="1470991"/>
            </a:xfrm>
            <a:prstGeom prst="ellipse">
              <a:avLst/>
            </a:prstGeom>
            <a:solidFill>
              <a:srgbClr val="C7DD7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D7B9EF6-D050-A8E2-D5E2-EBDFC7812BF6}"/>
                </a:ext>
              </a:extLst>
            </p:cNvPr>
            <p:cNvSpPr txBox="1"/>
            <p:nvPr/>
          </p:nvSpPr>
          <p:spPr>
            <a:xfrm>
              <a:off x="3743683" y="2571807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6D0C7E6-5AC7-A92E-D8AB-A4665EBA19BF}"/>
                </a:ext>
              </a:extLst>
            </p:cNvPr>
            <p:cNvSpPr txBox="1"/>
            <p:nvPr/>
          </p:nvSpPr>
          <p:spPr>
            <a:xfrm>
              <a:off x="4202595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5FCFFD4-01C5-C1E0-1B66-3A712577AA47}"/>
                </a:ext>
              </a:extLst>
            </p:cNvPr>
            <p:cNvSpPr txBox="1"/>
            <p:nvPr/>
          </p:nvSpPr>
          <p:spPr>
            <a:xfrm>
              <a:off x="4462118" y="2871745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F6DC203-16A8-B5DC-84F7-FB50065F8289}"/>
                </a:ext>
              </a:extLst>
            </p:cNvPr>
            <p:cNvSpPr txBox="1"/>
            <p:nvPr/>
          </p:nvSpPr>
          <p:spPr>
            <a:xfrm>
              <a:off x="3062704" y="2871745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19B437B-A073-0277-405C-04ED2D132231}"/>
                </a:ext>
              </a:extLst>
            </p:cNvPr>
            <p:cNvSpPr txBox="1"/>
            <p:nvPr/>
          </p:nvSpPr>
          <p:spPr>
            <a:xfrm>
              <a:off x="3806376" y="2977620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53CA76A-13A1-C9BB-9F93-438C6B0C3466}"/>
                </a:ext>
              </a:extLst>
            </p:cNvPr>
            <p:cNvSpPr txBox="1"/>
            <p:nvPr/>
          </p:nvSpPr>
          <p:spPr>
            <a:xfrm>
              <a:off x="3806376" y="1727997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0B26BEF-E388-5A3B-90A8-95B1535BD1C4}"/>
                </a:ext>
              </a:extLst>
            </p:cNvPr>
            <p:cNvSpPr txBox="1"/>
            <p:nvPr/>
          </p:nvSpPr>
          <p:spPr>
            <a:xfrm>
              <a:off x="3352199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3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C5F1E6C8-5066-5FA0-D139-E7AE2439585F}"/>
              </a:ext>
            </a:extLst>
          </p:cNvPr>
          <p:cNvSpPr txBox="1"/>
          <p:nvPr/>
        </p:nvSpPr>
        <p:spPr>
          <a:xfrm>
            <a:off x="9340069" y="6446513"/>
            <a:ext cx="2489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Work together with Jo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3228DA0-B3FC-4AE8-4868-0CFC6B149A0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</a:rPr>
              <a:t>DSGs detected from 3 rounds of RNA-seq with lead modulators</a:t>
            </a:r>
          </a:p>
        </p:txBody>
      </p:sp>
    </p:spTree>
    <p:extLst>
      <p:ext uri="{BB962C8B-B14F-4D97-AF65-F5344CB8AC3E}">
        <p14:creationId xmlns:p14="http://schemas.microsoft.com/office/powerpoint/2010/main" val="519313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75060" y="2553656"/>
            <a:ext cx="5083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NGN2 cell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0AE1A8-11E7-EC0F-800F-600AB14258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410" y="163195"/>
            <a:ext cx="3514546" cy="632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009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013300" y="2868616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iPSC cell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0D0FBE-9AFE-FEDA-C034-E01CC9B41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3" y="641350"/>
            <a:ext cx="6769100" cy="5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9203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5BB158-219C-8582-AA7A-1CA2E0FF1705}"/>
              </a:ext>
            </a:extLst>
          </p:cNvPr>
          <p:cNvSpPr txBox="1"/>
          <p:nvPr/>
        </p:nvSpPr>
        <p:spPr>
          <a:xfrm>
            <a:off x="276789" y="229667"/>
            <a:ext cx="794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arison of Differentially Expressed Genes from 3 cell lines (PTC-518, 10x IC50)</a:t>
            </a:r>
            <a:endParaRPr lang="en-US" b="1" dirty="0">
              <a:highlight>
                <a:srgbClr val="FFFF00"/>
              </a:highlight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E4FBE58-C91C-DE9B-3429-590B8FDB1845}"/>
              </a:ext>
            </a:extLst>
          </p:cNvPr>
          <p:cNvGraphicFramePr>
            <a:graphicFrameLocks noGrp="1"/>
          </p:cNvGraphicFramePr>
          <p:nvPr/>
        </p:nvGraphicFramePr>
        <p:xfrm>
          <a:off x="6505088" y="2876155"/>
          <a:ext cx="477233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083">
                  <a:extLst>
                    <a:ext uri="{9D8B030D-6E8A-4147-A177-3AD203B41FA5}">
                      <a16:colId xmlns:a16="http://schemas.microsoft.com/office/drawing/2014/main" val="1934331220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102941081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4104475585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349754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085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GN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37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P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212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H-Sy5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23970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6908A92-4DAC-C23B-2ECA-CE1537C7E9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580" y="1264596"/>
            <a:ext cx="5181420" cy="45141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063BC-81FB-1C81-C965-94EB4BB6795B}"/>
              </a:ext>
            </a:extLst>
          </p:cNvPr>
          <p:cNvSpPr txBox="1"/>
          <p:nvPr/>
        </p:nvSpPr>
        <p:spPr>
          <a:xfrm>
            <a:off x="714375" y="6074977"/>
            <a:ext cx="10147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y certain DEGs appear only in a subset of cell lines tested? </a:t>
            </a:r>
            <a:r>
              <a:rPr lang="en-US" dirty="0"/>
              <a:t>Expression? Splicing kinetics? NMD kinetic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F56A5B-244F-76F7-6A55-6EA579E103E8}"/>
              </a:ext>
            </a:extLst>
          </p:cNvPr>
          <p:cNvSpPr txBox="1"/>
          <p:nvPr/>
        </p:nvSpPr>
        <p:spPr>
          <a:xfrm>
            <a:off x="405626" y="6452005"/>
            <a:ext cx="60994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Joon </a:t>
            </a:r>
          </a:p>
        </p:txBody>
      </p:sp>
    </p:spTree>
    <p:extLst>
      <p:ext uri="{BB962C8B-B14F-4D97-AF65-F5344CB8AC3E}">
        <p14:creationId xmlns:p14="http://schemas.microsoft.com/office/powerpoint/2010/main" val="211275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12612D-3CFE-89D9-F23B-E760E5F9B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07" y="2659903"/>
            <a:ext cx="3419465" cy="307648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, NGN2 and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484" y="827958"/>
            <a:ext cx="4575503" cy="52504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BA1C68-A771-80C2-876A-D919E77CFC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62" y="2240245"/>
            <a:ext cx="3559216" cy="329814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2066792" y="341936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2987834" y="34193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5443413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7186457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555299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2634522" y="3439300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9F1DD13-487E-802D-FC34-BC7E6F061819}"/>
              </a:ext>
            </a:extLst>
          </p:cNvPr>
          <p:cNvCxnSpPr>
            <a:cxnSpLocks/>
          </p:cNvCxnSpPr>
          <p:nvPr/>
        </p:nvCxnSpPr>
        <p:spPr>
          <a:xfrm flipH="1">
            <a:off x="8980396" y="25908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62143D-1841-CD00-6976-55048C9403A4}"/>
              </a:ext>
            </a:extLst>
          </p:cNvPr>
          <p:cNvCxnSpPr>
            <a:cxnSpLocks/>
          </p:cNvCxnSpPr>
          <p:nvPr/>
        </p:nvCxnSpPr>
        <p:spPr>
          <a:xfrm flipH="1">
            <a:off x="10186968" y="350438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7553E4-CFBF-AD8A-5872-15AAFFEABAA1}"/>
              </a:ext>
            </a:extLst>
          </p:cNvPr>
          <p:cNvCxnSpPr>
            <a:cxnSpLocks/>
          </p:cNvCxnSpPr>
          <p:nvPr/>
        </p:nvCxnSpPr>
        <p:spPr>
          <a:xfrm flipH="1">
            <a:off x="10530294" y="375196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2309405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2654420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1773547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5127718" y="5960046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6870299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5289330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9F20F1-8B55-5E77-0711-E79885C41D6A}"/>
              </a:ext>
            </a:extLst>
          </p:cNvPr>
          <p:cNvCxnSpPr>
            <a:cxnSpLocks/>
          </p:cNvCxnSpPr>
          <p:nvPr/>
        </p:nvCxnSpPr>
        <p:spPr>
          <a:xfrm flipV="1">
            <a:off x="10321006" y="5760177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D1F4266-EA48-101A-28D8-27D007C51ED6}"/>
              </a:ext>
            </a:extLst>
          </p:cNvPr>
          <p:cNvCxnSpPr>
            <a:cxnSpLocks/>
          </p:cNvCxnSpPr>
          <p:nvPr/>
        </p:nvCxnSpPr>
        <p:spPr>
          <a:xfrm flipV="1">
            <a:off x="9970866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6A3E55-F7F5-E645-2E5A-2AA087381DF7}"/>
              </a:ext>
            </a:extLst>
          </p:cNvPr>
          <p:cNvCxnSpPr>
            <a:cxnSpLocks/>
          </p:cNvCxnSpPr>
          <p:nvPr/>
        </p:nvCxnSpPr>
        <p:spPr>
          <a:xfrm flipV="1">
            <a:off x="8705827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2793710" y="497193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2419634" y="49760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1897127" y="4971934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5251429" y="528876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6989482" y="52788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5394046" y="528876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44E16E-A1A3-D8A7-28CE-93C22F809C2F}"/>
              </a:ext>
            </a:extLst>
          </p:cNvPr>
          <p:cNvSpPr/>
          <p:nvPr/>
        </p:nvSpPr>
        <p:spPr>
          <a:xfrm>
            <a:off x="10474309" y="5052916"/>
            <a:ext cx="134309" cy="58742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87319C-2846-905A-655B-1097D3463365}"/>
              </a:ext>
            </a:extLst>
          </p:cNvPr>
          <p:cNvSpPr/>
          <p:nvPr/>
        </p:nvSpPr>
        <p:spPr>
          <a:xfrm>
            <a:off x="8846087" y="5089626"/>
            <a:ext cx="134309" cy="587422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BBF681-E5C4-4AAB-11DE-27DD27C3076A}"/>
              </a:ext>
            </a:extLst>
          </p:cNvPr>
          <p:cNvSpPr/>
          <p:nvPr/>
        </p:nvSpPr>
        <p:spPr>
          <a:xfrm>
            <a:off x="10120734" y="5070755"/>
            <a:ext cx="134309" cy="587422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367272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Zhen Gao’s Resume 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9BE00B-1D80-E47B-04C2-A23B524AB199}"/>
              </a:ext>
            </a:extLst>
          </p:cNvPr>
          <p:cNvSpPr txBox="1"/>
          <p:nvPr/>
        </p:nvSpPr>
        <p:spPr>
          <a:xfrm>
            <a:off x="203200" y="922865"/>
            <a:ext cx="609600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1206FF"/>
                </a:solidFill>
                <a:effectLst/>
                <a:latin typeface="-apple-system"/>
              </a:rPr>
              <a:t>Experience:</a:t>
            </a:r>
          </a:p>
          <a:p>
            <a:endParaRPr lang="en-US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omputational Biologist</a:t>
            </a:r>
          </a:p>
          <a:p>
            <a:r>
              <a:rPr lang="en-US" dirty="0"/>
              <a:t>Jan 2022 - </a:t>
            </a:r>
          </a:p>
          <a:p>
            <a:r>
              <a:rPr lang="en-US" dirty="0"/>
              <a:t>Translational Genomics Science</a:t>
            </a:r>
          </a:p>
          <a:p>
            <a:r>
              <a:rPr lang="en-US" dirty="0">
                <a:solidFill>
                  <a:srgbClr val="00B050"/>
                </a:solidFill>
              </a:rPr>
              <a:t>Biogen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Senior Bioinformatics Scientist </a:t>
            </a:r>
          </a:p>
          <a:p>
            <a:r>
              <a:rPr lang="en-US" dirty="0"/>
              <a:t>2016 - 2021 </a:t>
            </a:r>
          </a:p>
          <a:p>
            <a:r>
              <a:rPr lang="en-US" dirty="0"/>
              <a:t>Biostatistics Core, Sylvester Comprehensive Cancer Center Miami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edical Data Scientist</a:t>
            </a:r>
          </a:p>
          <a:p>
            <a:r>
              <a:rPr lang="en-US" dirty="0"/>
              <a:t>2015 - 2016</a:t>
            </a:r>
          </a:p>
          <a:p>
            <a:r>
              <a:rPr lang="en-US" dirty="0"/>
              <a:t>AI Drug Discovery Center, Case Western Reserve University Cleveland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ioinformatician</a:t>
            </a:r>
          </a:p>
          <a:p>
            <a:r>
              <a:rPr lang="en-US" dirty="0"/>
              <a:t>2015</a:t>
            </a:r>
          </a:p>
          <a:p>
            <a:r>
              <a:rPr lang="en-US" dirty="0"/>
              <a:t>Horae Gene Therapy Center, UMass Medical School</a:t>
            </a:r>
          </a:p>
          <a:p>
            <a:r>
              <a:rPr lang="en-US" dirty="0"/>
              <a:t>Worces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D50B5B-2BA4-C65B-0310-9FFEA3B28FAF}"/>
              </a:ext>
            </a:extLst>
          </p:cNvPr>
          <p:cNvSpPr txBox="1"/>
          <p:nvPr/>
        </p:nvSpPr>
        <p:spPr>
          <a:xfrm>
            <a:off x="6231467" y="1476863"/>
            <a:ext cx="595630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ancer Informatics Postdoc</a:t>
            </a:r>
          </a:p>
          <a:p>
            <a:r>
              <a:rPr lang="en-US" dirty="0"/>
              <a:t>2010 - 2012 </a:t>
            </a:r>
          </a:p>
          <a:p>
            <a:r>
              <a:rPr lang="en-US" dirty="0"/>
              <a:t>Dept of Radiation Oncology </a:t>
            </a:r>
          </a:p>
          <a:p>
            <a:r>
              <a:rPr lang="en-US" dirty="0"/>
              <a:t>Washington University in St. Loui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b="1" dirty="0">
              <a:solidFill>
                <a:srgbClr val="1206FF"/>
              </a:solidFill>
            </a:endParaRPr>
          </a:p>
          <a:p>
            <a:r>
              <a:rPr lang="en-US" b="1" dirty="0">
                <a:solidFill>
                  <a:srgbClr val="1206FF"/>
                </a:solidFill>
              </a:rPr>
              <a:t>Education: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S, Computer and Information System</a:t>
            </a:r>
          </a:p>
          <a:p>
            <a:r>
              <a:rPr lang="en-US" dirty="0"/>
              <a:t>Boston University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hD, Cancer Biology</a:t>
            </a:r>
          </a:p>
          <a:p>
            <a:r>
              <a:rPr lang="en-US" dirty="0"/>
              <a:t>University of Iowa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S, Pharmaceutical Sciences</a:t>
            </a:r>
          </a:p>
          <a:p>
            <a:r>
              <a:rPr lang="en-US" dirty="0"/>
              <a:t>Nanjing University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460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FontTx/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plicing Algorithms maintainer / night watchman for Bioge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ew Events discovered in splicing analysis.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volved in multiple research projects for progress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line and software tools development for Biogen staff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velopment of new algorithm to provided more detailed informatio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ate new experiments procedure/new target from bioinformatics angle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munity service to improve Biogen reputation  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1882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, Sandi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s everyone in TS department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ly Dann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26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NGN2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6518645" y="5479424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4835795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4684694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796" y="757559"/>
            <a:ext cx="4632090" cy="53154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79D877-193D-6197-EBE3-F7AA65599C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84" y="975236"/>
            <a:ext cx="2927284" cy="301334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1F7A74-BA06-D51D-7C07-7FF58143F0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68" y="911162"/>
            <a:ext cx="3701862" cy="44411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4992347" y="4842122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681055" y="482715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4835796" y="4842122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8923103" y="532542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661156" y="531549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9065720" y="532542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4927414" y="7851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105933" y="716133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898526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728310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9094849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756521" y="91116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8769799" y="5967065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10512380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8931411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9024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  <p:bldP spid="6" grpId="0" animBg="1"/>
      <p:bldP spid="7" grpId="0" animBg="1"/>
      <p:bldP spid="3" grpId="0" animBg="1"/>
      <p:bldP spid="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ADD6C8-6810-88A7-6EE2-B8CFCA4A1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37" y="1055884"/>
            <a:ext cx="2744219" cy="27442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B26E8-B8C6-C770-0B7C-B2E640D36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403" y="862214"/>
            <a:ext cx="3768001" cy="46917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D1EB4D-98BD-A20D-D0DF-216B82BC4A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851" y="711619"/>
            <a:ext cx="4546720" cy="5434761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10434218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9996556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9262873" y="591012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5962942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22925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6457764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135077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151157" y="527646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374515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6601756" y="501054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9434703" y="5276463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10567088" y="5276464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6668910" y="833031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214104" y="8330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455986" y="85176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10692843" y="3918637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238037" y="391863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9479919" y="393737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42881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Goals of the Splicing Modulator Research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/agents keep on-target effects and fewer off-targets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for selection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1171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36933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332" y="0"/>
            <a:ext cx="422300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E44AF76-883F-F724-F03C-4463CE5D30BE}"/>
              </a:ext>
            </a:extLst>
          </p:cNvPr>
          <p:cNvSpPr/>
          <p:nvPr/>
        </p:nvSpPr>
        <p:spPr>
          <a:xfrm>
            <a:off x="6096000" y="53473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95376C-05C0-E212-21B2-4C3502CAC198}"/>
              </a:ext>
            </a:extLst>
          </p:cNvPr>
          <p:cNvSpPr/>
          <p:nvPr/>
        </p:nvSpPr>
        <p:spPr>
          <a:xfrm>
            <a:off x="6096000" y="4277892"/>
            <a:ext cx="5866063" cy="204269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D92B81-A4DA-406C-7410-D204F0FF29C5}"/>
              </a:ext>
            </a:extLst>
          </p:cNvPr>
          <p:cNvSpPr/>
          <p:nvPr/>
        </p:nvSpPr>
        <p:spPr>
          <a:xfrm>
            <a:off x="6096000" y="2165682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8B07F7-AB9E-A6CC-4E17-E29C52BE397F}"/>
              </a:ext>
            </a:extLst>
          </p:cNvPr>
          <p:cNvSpPr txBox="1"/>
          <p:nvPr/>
        </p:nvSpPr>
        <p:spPr>
          <a:xfrm>
            <a:off x="5380271" y="1109577"/>
            <a:ext cx="5854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PS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D51CFD-C47E-9340-2415-6BF37DA5A139}"/>
              </a:ext>
            </a:extLst>
          </p:cNvPr>
          <p:cNvSpPr txBox="1"/>
          <p:nvPr/>
        </p:nvSpPr>
        <p:spPr>
          <a:xfrm>
            <a:off x="5219971" y="3059668"/>
            <a:ext cx="7457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B6820C-9BF8-4E53-FFBD-B04D6BCF2159}"/>
              </a:ext>
            </a:extLst>
          </p:cNvPr>
          <p:cNvSpPr txBox="1"/>
          <p:nvPr/>
        </p:nvSpPr>
        <p:spPr>
          <a:xfrm>
            <a:off x="5125009" y="5114575"/>
            <a:ext cx="840679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ShSy5y</a:t>
            </a:r>
          </a:p>
        </p:txBody>
      </p:sp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118" y="365126"/>
            <a:ext cx="9888682" cy="645528"/>
          </a:xfrm>
        </p:spPr>
        <p:txBody>
          <a:bodyPr>
            <a:normAutofit fontScale="90000"/>
          </a:bodyPr>
          <a:lstStyle/>
          <a:p>
            <a:r>
              <a:rPr lang="en-US" dirty="0"/>
              <a:t>sashimi-plots: Compound 6152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469" y="1130053"/>
            <a:ext cx="4546013" cy="487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4089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14" y="129647"/>
            <a:ext cx="9579585" cy="623242"/>
          </a:xfrm>
        </p:spPr>
        <p:txBody>
          <a:bodyPr>
            <a:normAutofit fontScale="90000"/>
          </a:bodyPr>
          <a:lstStyle/>
          <a:p>
            <a:r>
              <a:rPr lang="en-US" dirty="0"/>
              <a:t>It looks more than poison exon spicing in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15BBD1-B915-794B-95E7-3204B6CA33F5}"/>
              </a:ext>
            </a:extLst>
          </p:cNvPr>
          <p:cNvGrpSpPr/>
          <p:nvPr/>
        </p:nvGrpSpPr>
        <p:grpSpPr>
          <a:xfrm>
            <a:off x="760475" y="1125400"/>
            <a:ext cx="5728309" cy="1018257"/>
            <a:chOff x="543575" y="1930801"/>
            <a:chExt cx="5728309" cy="101825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E0D6FF7-02D9-974A-A863-D17577A16839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8257"/>
              <a:chOff x="410011" y="829146"/>
              <a:chExt cx="5728309" cy="1018257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FCA0E3-D04E-A043-B86F-B37E636EF6A1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8265"/>
                <a:chOff x="418567" y="669336"/>
                <a:chExt cx="5728309" cy="948265"/>
              </a:xfrm>
            </p:grpSpPr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12B54DBD-3ABC-3143-AECC-45636BA16B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C38C0C84-E0C4-8E4D-842D-27141606707F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23E5223B-7951-F648-AFE2-1F10E15FC0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C6DEABEF-1D2D-A546-8667-AE990BE82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Left Arrow 12">
                  <a:extLst>
                    <a:ext uri="{FF2B5EF4-FFF2-40B4-BE49-F238E27FC236}">
                      <a16:creationId xmlns:a16="http://schemas.microsoft.com/office/drawing/2014/main" id="{F5E3BD8F-0EB8-8D4C-890E-C9CCB1E75511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ABE6D29F-D2DA-A74D-8EBF-61F7A6BD4E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FB6553A9-B3F7-FE4D-AA32-E278D16977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42696"/>
                  <a:ext cx="280804" cy="27221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3D9A4ECD-B92C-F148-ACE7-E4F3436E92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53D76D4-8732-BD40-AC4D-C64687D609F0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B7D389BA-906D-7145-9F27-7A5992A50604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E08B4BE2-95A4-0443-BE06-C1FC6D15D43F}"/>
                    </a:ext>
                  </a:extLst>
                </p:cNvPr>
                <p:cNvSpPr/>
                <p:nvPr/>
              </p:nvSpPr>
              <p:spPr>
                <a:xfrm>
                  <a:off x="2540219" y="98242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BE781E99-D1CA-2B4A-BFA7-595042B98798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29E2889-2880-3C41-BF15-ADD6B0BA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855F31CA-CBFA-974F-A2C5-A913B3EA28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65730" y="1367029"/>
                  <a:ext cx="348516" cy="25057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2262EA3-7607-1148-93E9-F8803CD8D8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615507" y="1324620"/>
                  <a:ext cx="301525" cy="290286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85C4365-D371-B34D-9CED-B6F8D3CB32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BC639CB-49EA-B94D-8E15-B867576768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Hexagon 6">
                <a:extLst>
                  <a:ext uri="{FF2B5EF4-FFF2-40B4-BE49-F238E27FC236}">
                    <a16:creationId xmlns:a16="http://schemas.microsoft.com/office/drawing/2014/main" id="{D569EE21-3AB1-B44E-8EE0-16BF443CAC47}"/>
                  </a:ext>
                </a:extLst>
              </p:cNvPr>
              <p:cNvSpPr/>
              <p:nvPr/>
            </p:nvSpPr>
            <p:spPr>
              <a:xfrm>
                <a:off x="2926348" y="1651460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9288310C-9D8C-634F-AA54-89DF5DDD15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14577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Left Arrow 4">
              <a:extLst>
                <a:ext uri="{FF2B5EF4-FFF2-40B4-BE49-F238E27FC236}">
                  <a16:creationId xmlns:a16="http://schemas.microsoft.com/office/drawing/2014/main" id="{90CE92FD-B8B5-0145-8AC6-B1D17368BB2C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F0D2E5-8AA5-2C40-B96F-5C6AD2186459}"/>
              </a:ext>
            </a:extLst>
          </p:cNvPr>
          <p:cNvGrpSpPr/>
          <p:nvPr/>
        </p:nvGrpSpPr>
        <p:grpSpPr>
          <a:xfrm>
            <a:off x="743483" y="4732733"/>
            <a:ext cx="5728309" cy="1012910"/>
            <a:chOff x="543575" y="1930801"/>
            <a:chExt cx="5728309" cy="101291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EF0230F-5BD3-014E-A107-093EE2853124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2910"/>
              <a:chOff x="410011" y="829146"/>
              <a:chExt cx="5728309" cy="101291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8751A0EA-946D-6847-9F05-3422D4F7BA06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865A322E-96DB-FC48-834E-0A4C18E01B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6E5559B0-1542-F540-B5E5-54337E840880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77857F2D-64C3-2D48-9DB3-4B249669EA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E537D27-AC70-B749-8FFA-2C849E2781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Left Arrow 35">
                  <a:extLst>
                    <a:ext uri="{FF2B5EF4-FFF2-40B4-BE49-F238E27FC236}">
                      <a16:creationId xmlns:a16="http://schemas.microsoft.com/office/drawing/2014/main" id="{6162EBE0-6348-3640-89A6-FD58D44C0C44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315AB33-BCF1-B440-8AC4-F1EA222124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DAD4CC50-1DD7-A44E-B6D4-D3C57CCBC2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2C153991-1115-BF42-883D-7BC24F5C0F26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FA256989-176B-8B48-BAD4-E22672288247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77E7EC0-460B-DA4A-9655-F14ED9F39263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F3008AC4-0239-564C-9BFA-4C68EFB2A4E2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855A76CB-EDB4-F744-8211-8EE32E38D8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A5B030C0-7FF6-5343-AF84-607DE7834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5B62AF84-2112-7D4E-8E0B-4CDD2BF56F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E9011E0A-7DFC-8540-A0C3-F64B1B27487F}"/>
                  </a:ext>
                </a:extLst>
              </p:cNvPr>
              <p:cNvSpPr/>
              <p:nvPr/>
            </p:nvSpPr>
            <p:spPr>
              <a:xfrm>
                <a:off x="2926348" y="1646113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3743DBB-D01D-B342-A573-849DA74C2F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3883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Left Arrow 27">
              <a:extLst>
                <a:ext uri="{FF2B5EF4-FFF2-40B4-BE49-F238E27FC236}">
                  <a16:creationId xmlns:a16="http://schemas.microsoft.com/office/drawing/2014/main" id="{6781BADF-7954-C14A-ADF0-70A56F6A37C4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D72F4EA-FA51-9F4C-94F1-B4AFF8E8E47E}"/>
              </a:ext>
            </a:extLst>
          </p:cNvPr>
          <p:cNvSpPr txBox="1"/>
          <p:nvPr/>
        </p:nvSpPr>
        <p:spPr>
          <a:xfrm>
            <a:off x="7471631" y="1284218"/>
            <a:ext cx="362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49N: chr4:3,213,622-3,213,736 (+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3F9EEC-3C25-7245-9B39-011C26866A95}"/>
              </a:ext>
            </a:extLst>
          </p:cNvPr>
          <p:cNvSpPr txBox="1"/>
          <p:nvPr/>
        </p:nvSpPr>
        <p:spPr>
          <a:xfrm>
            <a:off x="235521" y="6481998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essica Plots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3935E4-5213-6E41-B35A-2A7F6EA37D5B}"/>
              </a:ext>
            </a:extLst>
          </p:cNvPr>
          <p:cNvSpPr/>
          <p:nvPr/>
        </p:nvSpPr>
        <p:spPr>
          <a:xfrm>
            <a:off x="3506529" y="5036431"/>
            <a:ext cx="605560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en-US" sz="1067" dirty="0">
                <a:solidFill>
                  <a:srgbClr val="FFFFFF"/>
                </a:solidFill>
                <a:latin typeface="Arial" panose="020B0604020202020204"/>
              </a:rPr>
              <a:t>Intr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A3FDF4E-F7D5-2D4C-AB9C-5C2EDA577EFD}"/>
              </a:ext>
            </a:extLst>
          </p:cNvPr>
          <p:cNvSpPr txBox="1"/>
          <p:nvPr/>
        </p:nvSpPr>
        <p:spPr>
          <a:xfrm>
            <a:off x="596494" y="898669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cal toxic exon splicing in typ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8F878E-8E44-C145-A4D3-5C3E69D390C2}"/>
              </a:ext>
            </a:extLst>
          </p:cNvPr>
          <p:cNvSpPr txBox="1"/>
          <p:nvPr/>
        </p:nvSpPr>
        <p:spPr>
          <a:xfrm>
            <a:off x="596494" y="2314288"/>
            <a:ext cx="409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but high frequent ones 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B8042D-1644-E544-927F-3B5274296B30}"/>
              </a:ext>
            </a:extLst>
          </p:cNvPr>
          <p:cNvSpPr/>
          <p:nvPr/>
        </p:nvSpPr>
        <p:spPr>
          <a:xfrm>
            <a:off x="7471631" y="6341717"/>
            <a:ext cx="43765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Nonsense-mediated </a:t>
            </a:r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mRNA decay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 (NMD)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906E6F7-467D-A347-BC64-F6133ABABF30}"/>
              </a:ext>
            </a:extLst>
          </p:cNvPr>
          <p:cNvSpPr/>
          <p:nvPr/>
        </p:nvSpPr>
        <p:spPr>
          <a:xfrm>
            <a:off x="2662633" y="3183916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6FF3E0-D0EF-674E-A830-BB9E2AB9A9B5}"/>
              </a:ext>
            </a:extLst>
          </p:cNvPr>
          <p:cNvGrpSpPr/>
          <p:nvPr/>
        </p:nvGrpSpPr>
        <p:grpSpPr>
          <a:xfrm>
            <a:off x="783969" y="2876924"/>
            <a:ext cx="5728309" cy="1007563"/>
            <a:chOff x="543575" y="1930801"/>
            <a:chExt cx="5728309" cy="1007563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D3452F2-3985-2844-8C28-69A427D9A50A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07563"/>
              <a:chOff x="410011" y="829146"/>
              <a:chExt cx="5728309" cy="1007563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96C1276-293F-1E4D-BECB-0907D8B4276F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58E9123D-0254-A24F-A496-4D5F1A7B3D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932121E0-45E0-E74C-BA35-4EEBF1941CE4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FC4DAA79-F17C-074F-A788-EDFE7A8C77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9C01B31D-677E-0649-B1ED-6DF1687B42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Left Arrow 66">
                  <a:extLst>
                    <a:ext uri="{FF2B5EF4-FFF2-40B4-BE49-F238E27FC236}">
                      <a16:creationId xmlns:a16="http://schemas.microsoft.com/office/drawing/2014/main" id="{F5AAC8DE-576B-0547-BEF5-C948C977842F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8519DE1A-2305-D04B-8B96-9D7EF6AF9D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72CD813C-0BE5-B844-8D05-C916E95308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00119"/>
                  <a:ext cx="38456" cy="31478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D0F9AC9E-9593-AF4D-A603-3AC71F260E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55F5EF83-620C-0C4D-B160-3FA53CD6B712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D8496FF-02FA-2F45-8090-F210A2F22F8C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B89C2DD3-FB1C-9546-B679-0D4217A91890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4EE79E8-004E-4549-BBDF-637E3D21E4E9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EFD5D9EC-A3E1-234C-B121-1800098ECE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6469E440-5030-F043-94A1-3C12224141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1B57A512-F835-5E43-B510-6E8AD6EB5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1" name="Hexagon 60">
                <a:extLst>
                  <a:ext uri="{FF2B5EF4-FFF2-40B4-BE49-F238E27FC236}">
                    <a16:creationId xmlns:a16="http://schemas.microsoft.com/office/drawing/2014/main" id="{2D188908-B572-2542-9C74-9DA5E6F073FE}"/>
                  </a:ext>
                </a:extLst>
              </p:cNvPr>
              <p:cNvSpPr/>
              <p:nvPr/>
            </p:nvSpPr>
            <p:spPr>
              <a:xfrm>
                <a:off x="2926348" y="1640766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EB88A33D-D26D-FD41-AA96-0DF85ED5A4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9230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Left Arrow 58">
              <a:extLst>
                <a:ext uri="{FF2B5EF4-FFF2-40B4-BE49-F238E27FC236}">
                  <a16:creationId xmlns:a16="http://schemas.microsoft.com/office/drawing/2014/main" id="{3AD10119-D982-2248-B34D-5E57EDC65649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7C843D35-282B-0944-AA26-F6B0764C802B}"/>
              </a:ext>
            </a:extLst>
          </p:cNvPr>
          <p:cNvSpPr txBox="1"/>
          <p:nvPr/>
        </p:nvSpPr>
        <p:spPr>
          <a:xfrm>
            <a:off x="579502" y="4190723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and less frequent ones 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C5B3D7D-0E43-CD5D-43E6-0FC5E24F586A}"/>
              </a:ext>
            </a:extLst>
          </p:cNvPr>
          <p:cNvSpPr/>
          <p:nvPr/>
        </p:nvSpPr>
        <p:spPr>
          <a:xfrm>
            <a:off x="2627915" y="5039077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CFCA831-928F-7FD2-18AF-FBE4406247FB}"/>
              </a:ext>
            </a:extLst>
          </p:cNvPr>
          <p:cNvCxnSpPr>
            <a:cxnSpLocks/>
          </p:cNvCxnSpPr>
          <p:nvPr/>
        </p:nvCxnSpPr>
        <p:spPr>
          <a:xfrm flipH="1">
            <a:off x="2628002" y="5402655"/>
            <a:ext cx="38456" cy="314787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714092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791890-9668-4113-599F-534F33E748E9}"/>
              </a:ext>
            </a:extLst>
          </p:cNvPr>
          <p:cNvCxnSpPr/>
          <p:nvPr/>
        </p:nvCxnSpPr>
        <p:spPr>
          <a:xfrm>
            <a:off x="470139" y="1825370"/>
            <a:ext cx="2725271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A5A2A1E-6EC5-36F9-9537-A9F819195BB2}"/>
              </a:ext>
            </a:extLst>
          </p:cNvPr>
          <p:cNvSpPr/>
          <p:nvPr/>
        </p:nvSpPr>
        <p:spPr>
          <a:xfrm>
            <a:off x="676328" y="1690901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BEED91-E8DC-708E-5007-E4945019F1B3}"/>
              </a:ext>
            </a:extLst>
          </p:cNvPr>
          <p:cNvSpPr/>
          <p:nvPr/>
        </p:nvSpPr>
        <p:spPr>
          <a:xfrm>
            <a:off x="2666493" y="1690900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9A1BE-9834-49D0-AD92-7FE0DABF5F79}"/>
              </a:ext>
            </a:extLst>
          </p:cNvPr>
          <p:cNvSpPr/>
          <p:nvPr/>
        </p:nvSpPr>
        <p:spPr>
          <a:xfrm>
            <a:off x="1577281" y="1690900"/>
            <a:ext cx="546847" cy="26894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ryptic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AAED9-ED3F-D7DF-21B6-9CA33318AF8C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1034916" y="1306024"/>
            <a:ext cx="719304" cy="5193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8D05319-9789-B3CD-1F14-4C73D4DBD1C4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1754220" y="1306024"/>
            <a:ext cx="912273" cy="51934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C6E7A6-21DC-99F6-8DC7-2EBEA7545D5D}"/>
              </a:ext>
            </a:extLst>
          </p:cNvPr>
          <p:cNvSpPr txBox="1"/>
          <p:nvPr/>
        </p:nvSpPr>
        <p:spPr>
          <a:xfrm>
            <a:off x="1075098" y="892463"/>
            <a:ext cx="15153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Canonical splic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DD7F57-6BFF-24FB-7060-41CD55C4CD77}"/>
              </a:ext>
            </a:extLst>
          </p:cNvPr>
          <p:cNvSpPr/>
          <p:nvPr/>
        </p:nvSpPr>
        <p:spPr>
          <a:xfrm>
            <a:off x="4547263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6AB1CB-D669-9630-309E-CC9695078624}"/>
              </a:ext>
            </a:extLst>
          </p:cNvPr>
          <p:cNvSpPr/>
          <p:nvPr/>
        </p:nvSpPr>
        <p:spPr>
          <a:xfrm>
            <a:off x="4905851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4D441B-1D3D-B16B-AFE6-18103209021E}"/>
              </a:ext>
            </a:extLst>
          </p:cNvPr>
          <p:cNvSpPr txBox="1"/>
          <p:nvPr/>
        </p:nvSpPr>
        <p:spPr>
          <a:xfrm>
            <a:off x="4327192" y="1833932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table mRNA</a:t>
            </a:r>
          </a:p>
          <a:p>
            <a:r>
              <a:rPr lang="en-US" sz="1400" b="1" i="1"/>
              <a:t>Normal protei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3E0054-F817-E811-CA5F-39E9CE5ADA32}"/>
              </a:ext>
            </a:extLst>
          </p:cNvPr>
          <p:cNvCxnSpPr>
            <a:cxnSpLocks/>
            <a:endCxn id="10" idx="3"/>
          </p:cNvCxnSpPr>
          <p:nvPr/>
        </p:nvCxnSpPr>
        <p:spPr>
          <a:xfrm flipH="1" flipV="1">
            <a:off x="1034916" y="1825372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BD0147-CA4F-4AF3-9189-0224023423B2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1314191" y="1825371"/>
            <a:ext cx="263090" cy="2689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E9BA976-5376-6B69-E662-F586222304BD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2124128" y="1825371"/>
            <a:ext cx="263090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B58EAF0-A536-9335-89F4-4DF8F9D8F856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387218" y="1825371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9045246-7DC6-16DF-5C04-98B65A68E483}"/>
              </a:ext>
            </a:extLst>
          </p:cNvPr>
          <p:cNvSpPr txBox="1"/>
          <p:nvPr/>
        </p:nvSpPr>
        <p:spPr>
          <a:xfrm>
            <a:off x="1093028" y="2171410"/>
            <a:ext cx="1304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M-promoted</a:t>
            </a:r>
          </a:p>
          <a:p>
            <a:r>
              <a:rPr lang="en-US" sz="1400" b="1" i="1"/>
              <a:t>Cryptic splicing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FB6FF93A-93E2-8B25-1972-084274B88765}"/>
              </a:ext>
            </a:extLst>
          </p:cNvPr>
          <p:cNvSpPr/>
          <p:nvPr/>
        </p:nvSpPr>
        <p:spPr>
          <a:xfrm>
            <a:off x="3997947" y="1154392"/>
            <a:ext cx="1921930" cy="1486744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E78873-9817-605F-C1CD-E9FD09BC099E}"/>
              </a:ext>
            </a:extLst>
          </p:cNvPr>
          <p:cNvGrpSpPr/>
          <p:nvPr/>
        </p:nvGrpSpPr>
        <p:grpSpPr>
          <a:xfrm>
            <a:off x="6379265" y="1148298"/>
            <a:ext cx="1990873" cy="1486744"/>
            <a:chOff x="6445727" y="654999"/>
            <a:chExt cx="1990873" cy="1486744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A4C3148-368C-2DC6-E256-3CB313B86423}"/>
                </a:ext>
              </a:extLst>
            </p:cNvPr>
            <p:cNvSpPr/>
            <p:nvPr/>
          </p:nvSpPr>
          <p:spPr>
            <a:xfrm>
              <a:off x="6718166" y="949744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7A1B17F-3ECC-0290-04A6-3F2376EF18EE}"/>
                </a:ext>
              </a:extLst>
            </p:cNvPr>
            <p:cNvSpPr/>
            <p:nvPr/>
          </p:nvSpPr>
          <p:spPr>
            <a:xfrm>
              <a:off x="7639901" y="949743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217E776-ACFB-4A5C-5853-9CEC074582F0}"/>
                </a:ext>
              </a:extLst>
            </p:cNvPr>
            <p:cNvSpPr/>
            <p:nvPr/>
          </p:nvSpPr>
          <p:spPr>
            <a:xfrm>
              <a:off x="7076754" y="949743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FA12E74A-1D8C-A6AC-38B4-1773F089D94F}"/>
                </a:ext>
              </a:extLst>
            </p:cNvPr>
            <p:cNvSpPr txBox="1"/>
            <p:nvPr/>
          </p:nvSpPr>
          <p:spPr>
            <a:xfrm>
              <a:off x="6666207" y="1235735"/>
              <a:ext cx="177039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i="1" dirty="0"/>
                <a:t>Stable mRNA</a:t>
              </a:r>
            </a:p>
            <a:p>
              <a:r>
                <a:rPr lang="en-US" sz="1400" b="1" i="1" dirty="0"/>
                <a:t>Protein with an inserted polypeptide</a:t>
              </a:r>
            </a:p>
          </p:txBody>
        </p: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5746A841-9315-73DA-7680-14E1622740C3}"/>
                </a:ext>
              </a:extLst>
            </p:cNvPr>
            <p:cNvSpPr/>
            <p:nvPr/>
          </p:nvSpPr>
          <p:spPr>
            <a:xfrm>
              <a:off x="6445727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BCF364D-D12A-E69C-A608-95AD7219C791}"/>
              </a:ext>
            </a:extLst>
          </p:cNvPr>
          <p:cNvGrpSpPr/>
          <p:nvPr/>
        </p:nvGrpSpPr>
        <p:grpSpPr>
          <a:xfrm>
            <a:off x="8760583" y="1148298"/>
            <a:ext cx="1921930" cy="1486744"/>
            <a:chOff x="8827045" y="654999"/>
            <a:chExt cx="1921930" cy="148674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BAA810-9D7E-A0DA-2F4A-EEDC938F3ED2}"/>
                </a:ext>
              </a:extLst>
            </p:cNvPr>
            <p:cNvSpPr/>
            <p:nvPr/>
          </p:nvSpPr>
          <p:spPr>
            <a:xfrm>
              <a:off x="9119586" y="1063131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6C32D5-0736-5EAE-D1CF-BC0930B68060}"/>
                </a:ext>
              </a:extLst>
            </p:cNvPr>
            <p:cNvSpPr/>
            <p:nvPr/>
          </p:nvSpPr>
          <p:spPr>
            <a:xfrm>
              <a:off x="10041321" y="1063130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35F14DF-B09F-7A02-263C-E64BD83C7942}"/>
                </a:ext>
              </a:extLst>
            </p:cNvPr>
            <p:cNvSpPr/>
            <p:nvPr/>
          </p:nvSpPr>
          <p:spPr>
            <a:xfrm>
              <a:off x="9478174" y="1063130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F76C68F-DBA9-49DC-43A7-F9DC89A0573E}"/>
                </a:ext>
              </a:extLst>
            </p:cNvPr>
            <p:cNvSpPr txBox="1"/>
            <p:nvPr/>
          </p:nvSpPr>
          <p:spPr>
            <a:xfrm>
              <a:off x="9067627" y="1349122"/>
              <a:ext cx="152548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i="1" u="sng" dirty="0"/>
                <a:t>Unstable</a:t>
              </a:r>
              <a:r>
                <a:rPr lang="en-US" sz="1400" b="1" i="1" dirty="0"/>
                <a:t> mRNA</a:t>
              </a:r>
            </a:p>
            <a:p>
              <a:r>
                <a:rPr lang="en-US" sz="1400" b="1" i="1" dirty="0"/>
                <a:t>Removed by NMD</a:t>
              </a:r>
            </a:p>
          </p:txBody>
        </p:sp>
        <p:sp>
          <p:nvSpPr>
            <p:cNvPr id="45" name="Decagon 44">
              <a:extLst>
                <a:ext uri="{FF2B5EF4-FFF2-40B4-BE49-F238E27FC236}">
                  <a16:creationId xmlns:a16="http://schemas.microsoft.com/office/drawing/2014/main" id="{FAAB4D76-9EAA-3230-12C2-2134DECAF204}"/>
                </a:ext>
              </a:extLst>
            </p:cNvPr>
            <p:cNvSpPr/>
            <p:nvPr/>
          </p:nvSpPr>
          <p:spPr>
            <a:xfrm>
              <a:off x="9637720" y="87865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7EA858C-5CF6-41AB-F229-93F4B242A3D5}"/>
                </a:ext>
              </a:extLst>
            </p:cNvPr>
            <p:cNvSpPr/>
            <p:nvPr/>
          </p:nvSpPr>
          <p:spPr>
            <a:xfrm>
              <a:off x="9700996" y="102674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4D27005B-FF2F-F1E3-D62A-211593BC11A8}"/>
                </a:ext>
              </a:extLst>
            </p:cNvPr>
            <p:cNvSpPr/>
            <p:nvPr/>
          </p:nvSpPr>
          <p:spPr>
            <a:xfrm>
              <a:off x="8827045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59B9853C-E9F8-0A20-8808-78D3AC288FC7}"/>
              </a:ext>
            </a:extLst>
          </p:cNvPr>
          <p:cNvSpPr/>
          <p:nvPr/>
        </p:nvSpPr>
        <p:spPr>
          <a:xfrm>
            <a:off x="4066261" y="798175"/>
            <a:ext cx="6564241" cy="221819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plicing outcom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BBE28B9-AE05-4C0D-14DD-3B5BF6CA46E0}"/>
              </a:ext>
            </a:extLst>
          </p:cNvPr>
          <p:cNvSpPr/>
          <p:nvPr/>
        </p:nvSpPr>
        <p:spPr>
          <a:xfrm>
            <a:off x="1143775" y="3316022"/>
            <a:ext cx="3035538" cy="2535881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0801AD-A006-A3C6-A78B-F9497DE5AB01}"/>
              </a:ext>
            </a:extLst>
          </p:cNvPr>
          <p:cNvSpPr/>
          <p:nvPr/>
        </p:nvSpPr>
        <p:spPr>
          <a:xfrm>
            <a:off x="1415387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76153C-CB67-D5F5-C93E-404E2D84238E}"/>
              </a:ext>
            </a:extLst>
          </p:cNvPr>
          <p:cNvSpPr/>
          <p:nvPr/>
        </p:nvSpPr>
        <p:spPr>
          <a:xfrm>
            <a:off x="1773975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D3EA97-E3D8-3950-D165-8AC2726A6DF4}"/>
              </a:ext>
            </a:extLst>
          </p:cNvPr>
          <p:cNvSpPr/>
          <p:nvPr/>
        </p:nvSpPr>
        <p:spPr>
          <a:xfrm>
            <a:off x="1773975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D15A3BF-C508-5627-92F8-DF3EE674E666}"/>
              </a:ext>
            </a:extLst>
          </p:cNvPr>
          <p:cNvSpPr/>
          <p:nvPr/>
        </p:nvSpPr>
        <p:spPr>
          <a:xfrm>
            <a:off x="2132563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9B4735-14CE-D04E-16AD-6E4F90E9772F}"/>
              </a:ext>
            </a:extLst>
          </p:cNvPr>
          <p:cNvSpPr/>
          <p:nvPr/>
        </p:nvSpPr>
        <p:spPr>
          <a:xfrm>
            <a:off x="2018060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7904EB-68C1-0658-5215-4F8A456DE90D}"/>
              </a:ext>
            </a:extLst>
          </p:cNvPr>
          <p:cNvSpPr/>
          <p:nvPr/>
        </p:nvSpPr>
        <p:spPr>
          <a:xfrm>
            <a:off x="2376648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8769CA-7FC6-5E64-4149-554ABBB2C79D}"/>
              </a:ext>
            </a:extLst>
          </p:cNvPr>
          <p:cNvSpPr/>
          <p:nvPr/>
        </p:nvSpPr>
        <p:spPr>
          <a:xfrm>
            <a:off x="2455630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86B67C9-4B5C-8E6C-CF67-483BACE4A26A}"/>
              </a:ext>
            </a:extLst>
          </p:cNvPr>
          <p:cNvSpPr/>
          <p:nvPr/>
        </p:nvSpPr>
        <p:spPr>
          <a:xfrm>
            <a:off x="2814218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C07CD9-1F4A-5D6E-EB98-D4A1132917F6}"/>
              </a:ext>
            </a:extLst>
          </p:cNvPr>
          <p:cNvSpPr/>
          <p:nvPr/>
        </p:nvSpPr>
        <p:spPr>
          <a:xfrm>
            <a:off x="2814218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2BC0BD-2E9B-A603-E208-22B656DC3F8B}"/>
              </a:ext>
            </a:extLst>
          </p:cNvPr>
          <p:cNvSpPr/>
          <p:nvPr/>
        </p:nvSpPr>
        <p:spPr>
          <a:xfrm>
            <a:off x="3172806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7569113-2F36-81CC-D7DB-8D024392D6AC}"/>
              </a:ext>
            </a:extLst>
          </p:cNvPr>
          <p:cNvSpPr/>
          <p:nvPr/>
        </p:nvSpPr>
        <p:spPr>
          <a:xfrm>
            <a:off x="3058303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5E6E79A-19A0-4D6F-8A54-5984698CB10F}"/>
              </a:ext>
            </a:extLst>
          </p:cNvPr>
          <p:cNvSpPr/>
          <p:nvPr/>
        </p:nvSpPr>
        <p:spPr>
          <a:xfrm>
            <a:off x="3416891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D0A7D5-AB2A-5829-5EE0-95B98415F671}"/>
              </a:ext>
            </a:extLst>
          </p:cNvPr>
          <p:cNvSpPr/>
          <p:nvPr/>
        </p:nvSpPr>
        <p:spPr>
          <a:xfrm>
            <a:off x="1763998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5D9632A-A096-43CF-C4BE-F0253E2F3465}"/>
              </a:ext>
            </a:extLst>
          </p:cNvPr>
          <p:cNvSpPr/>
          <p:nvPr/>
        </p:nvSpPr>
        <p:spPr>
          <a:xfrm>
            <a:off x="2122586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B2B45BD-133B-3EFB-359B-3685648ACD89}"/>
              </a:ext>
            </a:extLst>
          </p:cNvPr>
          <p:cNvSpPr/>
          <p:nvPr/>
        </p:nvSpPr>
        <p:spPr>
          <a:xfrm>
            <a:off x="2634924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EEA1195-3256-457E-8E50-9436D8351226}"/>
              </a:ext>
            </a:extLst>
          </p:cNvPr>
          <p:cNvSpPr/>
          <p:nvPr/>
        </p:nvSpPr>
        <p:spPr>
          <a:xfrm>
            <a:off x="2993512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4C5C6BD-11BA-5022-8746-47602EFF9CF6}"/>
              </a:ext>
            </a:extLst>
          </p:cNvPr>
          <p:cNvSpPr/>
          <p:nvPr/>
        </p:nvSpPr>
        <p:spPr>
          <a:xfrm>
            <a:off x="287900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48BE9D1-9088-9CB4-B642-64126C82A5CE}"/>
              </a:ext>
            </a:extLst>
          </p:cNvPr>
          <p:cNvSpPr/>
          <p:nvPr/>
        </p:nvSpPr>
        <p:spPr>
          <a:xfrm>
            <a:off x="323759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80751FE-18D8-4143-7853-FA113BB1832F}"/>
              </a:ext>
            </a:extLst>
          </p:cNvPr>
          <p:cNvSpPr/>
          <p:nvPr/>
        </p:nvSpPr>
        <p:spPr>
          <a:xfrm>
            <a:off x="198253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7F2FB2F-9E4F-BB04-08C0-1F6446F8398A}"/>
              </a:ext>
            </a:extLst>
          </p:cNvPr>
          <p:cNvSpPr/>
          <p:nvPr/>
        </p:nvSpPr>
        <p:spPr>
          <a:xfrm>
            <a:off x="234112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C635B2-B732-F2E0-0A4E-63884D353B9A}"/>
              </a:ext>
            </a:extLst>
          </p:cNvPr>
          <p:cNvSpPr txBox="1"/>
          <p:nvPr/>
        </p:nvSpPr>
        <p:spPr>
          <a:xfrm>
            <a:off x="1412255" y="5234567"/>
            <a:ext cx="2853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10 copies of canonically spliced mRN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48F765-9D1E-B2AA-E78F-E9482815ECA2}"/>
              </a:ext>
            </a:extLst>
          </p:cNvPr>
          <p:cNvSpPr txBox="1"/>
          <p:nvPr/>
        </p:nvSpPr>
        <p:spPr>
          <a:xfrm>
            <a:off x="2101521" y="3010821"/>
            <a:ext cx="1120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Basal state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E732D81-2565-041B-39B9-55E47CE569FC}"/>
              </a:ext>
            </a:extLst>
          </p:cNvPr>
          <p:cNvSpPr txBox="1"/>
          <p:nvPr/>
        </p:nvSpPr>
        <p:spPr>
          <a:xfrm>
            <a:off x="2183448" y="5909410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SI = 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D23588-45B7-EC0D-618B-7639565ADD46}"/>
              </a:ext>
            </a:extLst>
          </p:cNvPr>
          <p:cNvGrpSpPr/>
          <p:nvPr/>
        </p:nvGrpSpPr>
        <p:grpSpPr>
          <a:xfrm>
            <a:off x="4477912" y="2700673"/>
            <a:ext cx="3161849" cy="4157327"/>
            <a:chOff x="4544374" y="2276887"/>
            <a:chExt cx="3161849" cy="4157327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B4E9C34-11D4-940E-89B4-1FFCBD6DF594}"/>
                </a:ext>
              </a:extLst>
            </p:cNvPr>
            <p:cNvSpPr/>
            <p:nvPr/>
          </p:nvSpPr>
          <p:spPr>
            <a:xfrm>
              <a:off x="4544374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CA8AB63-490F-D7CE-AE21-ADE9EFD17E45}"/>
                </a:ext>
              </a:extLst>
            </p:cNvPr>
            <p:cNvSpPr/>
            <p:nvPr/>
          </p:nvSpPr>
          <p:spPr>
            <a:xfrm>
              <a:off x="4815986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43D1E17-0C45-8C16-7A4F-1E31367555DC}"/>
                </a:ext>
              </a:extLst>
            </p:cNvPr>
            <p:cNvSpPr/>
            <p:nvPr/>
          </p:nvSpPr>
          <p:spPr>
            <a:xfrm>
              <a:off x="5174574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1A79F7C-0E13-F60B-8D77-EDB1886224E9}"/>
                </a:ext>
              </a:extLst>
            </p:cNvPr>
            <p:cNvSpPr/>
            <p:nvPr/>
          </p:nvSpPr>
          <p:spPr>
            <a:xfrm>
              <a:off x="6214817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CF6479-933F-2DC8-D8B3-055A688B76B4}"/>
                </a:ext>
              </a:extLst>
            </p:cNvPr>
            <p:cNvSpPr/>
            <p:nvPr/>
          </p:nvSpPr>
          <p:spPr>
            <a:xfrm>
              <a:off x="6573405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7D9B90B-EE8D-1024-95BE-1FB520369A21}"/>
                </a:ext>
              </a:extLst>
            </p:cNvPr>
            <p:cNvSpPr/>
            <p:nvPr/>
          </p:nvSpPr>
          <p:spPr>
            <a:xfrm>
              <a:off x="6458902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2980D3E-467E-A366-3407-9CD650C5C88E}"/>
                </a:ext>
              </a:extLst>
            </p:cNvPr>
            <p:cNvSpPr/>
            <p:nvPr/>
          </p:nvSpPr>
          <p:spPr>
            <a:xfrm>
              <a:off x="6817490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839D609-8DE3-9930-F35D-9F210C06E71B}"/>
                </a:ext>
              </a:extLst>
            </p:cNvPr>
            <p:cNvSpPr/>
            <p:nvPr/>
          </p:nvSpPr>
          <p:spPr>
            <a:xfrm>
              <a:off x="5164597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8E2BF3C1-70FD-1955-F443-CCA33FD3213C}"/>
                </a:ext>
              </a:extLst>
            </p:cNvPr>
            <p:cNvSpPr/>
            <p:nvPr/>
          </p:nvSpPr>
          <p:spPr>
            <a:xfrm>
              <a:off x="5523185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D6078BCE-F87E-0D30-42C0-ECF1202CED01}"/>
                </a:ext>
              </a:extLst>
            </p:cNvPr>
            <p:cNvSpPr/>
            <p:nvPr/>
          </p:nvSpPr>
          <p:spPr>
            <a:xfrm>
              <a:off x="6035523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06914E7-91B4-3ADD-FE23-BBE075007E34}"/>
                </a:ext>
              </a:extLst>
            </p:cNvPr>
            <p:cNvSpPr/>
            <p:nvPr/>
          </p:nvSpPr>
          <p:spPr>
            <a:xfrm>
              <a:off x="6394111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B1A844E-F884-8F93-B31D-5172AA1AEBC3}"/>
                </a:ext>
              </a:extLst>
            </p:cNvPr>
            <p:cNvSpPr txBox="1"/>
            <p:nvPr/>
          </p:nvSpPr>
          <p:spPr>
            <a:xfrm>
              <a:off x="4852992" y="4607907"/>
              <a:ext cx="28532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5 copies of cryptically spliced mRNA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E886CD9-13A9-84A8-1869-EAFB1FD7A21E}"/>
                </a:ext>
              </a:extLst>
            </p:cNvPr>
            <p:cNvSpPr txBox="1"/>
            <p:nvPr/>
          </p:nvSpPr>
          <p:spPr>
            <a:xfrm>
              <a:off x="5061298" y="2276887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does </a:t>
              </a:r>
              <a:r>
                <a:rPr lang="en-US" sz="1600" b="1" u="sng"/>
                <a:t>not</a:t>
              </a:r>
              <a:r>
                <a:rPr lang="en-US" sz="1600" b="1"/>
                <a:t> promote NM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EF16550-924E-B8B3-F1CE-25762FCD0DCC}"/>
                </a:ext>
              </a:extLst>
            </p:cNvPr>
            <p:cNvGrpSpPr/>
            <p:nvPr/>
          </p:nvGrpSpPr>
          <p:grpSpPr>
            <a:xfrm>
              <a:off x="5744680" y="3148514"/>
              <a:ext cx="1280323" cy="137161"/>
              <a:chOff x="5806617" y="3287909"/>
              <a:chExt cx="1280323" cy="137161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6DB5177A-7FB3-6EBD-5C72-B92B3D3E95B5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1FC8C62-C826-3FAE-5476-863912DEC5D2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EE0DD891-249B-A758-8F36-39B26A89EF3A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B8505CB5-00BA-FC0F-07D6-D33939E7DCEF}"/>
                </a:ext>
              </a:extLst>
            </p:cNvPr>
            <p:cNvGrpSpPr/>
            <p:nvPr/>
          </p:nvGrpSpPr>
          <p:grpSpPr>
            <a:xfrm>
              <a:off x="4753481" y="3473872"/>
              <a:ext cx="1280323" cy="137161"/>
              <a:chOff x="5806617" y="3287909"/>
              <a:chExt cx="1280323" cy="137161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F6B9F44E-166F-396B-1764-763DFA7CDEC6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4D1CA91E-0D04-30BD-7959-9A5C82BFE6C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0D76DF4-0C18-FD2D-088B-3AE8A6F388DF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0AEB0DEB-5245-EEE3-DB3D-2C2D847D4D2D}"/>
                </a:ext>
              </a:extLst>
            </p:cNvPr>
            <p:cNvGrpSpPr/>
            <p:nvPr/>
          </p:nvGrpSpPr>
          <p:grpSpPr>
            <a:xfrm>
              <a:off x="4934494" y="3787779"/>
              <a:ext cx="1280323" cy="137161"/>
              <a:chOff x="5806617" y="3287909"/>
              <a:chExt cx="1280323" cy="137161"/>
            </a:xfrm>
          </p:grpSpPr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E4D33E3-905F-DB96-A9FB-762CCDFCC5BA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89E482F7-0000-607A-C3D0-F29E196763E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6936AE5D-935A-7180-4F5B-C08E2D7DDDD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A919AE-A9A6-0CC4-13E7-DE91B111F5AF}"/>
                </a:ext>
              </a:extLst>
            </p:cNvPr>
            <p:cNvGrpSpPr/>
            <p:nvPr/>
          </p:nvGrpSpPr>
          <p:grpSpPr>
            <a:xfrm>
              <a:off x="4703729" y="4327741"/>
              <a:ext cx="1280323" cy="137161"/>
              <a:chOff x="5806617" y="3287909"/>
              <a:chExt cx="1280323" cy="13716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252BE75B-2896-B9C0-ED91-333EAC85BB8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C644B65-AE30-8649-3AA1-8D862D266D4D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A2629E92-EB5F-6958-D98C-6AEF4749CC2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919DEC4-1BAA-DA5E-85B5-809A9DE704C5}"/>
                </a:ext>
              </a:extLst>
            </p:cNvPr>
            <p:cNvGrpSpPr/>
            <p:nvPr/>
          </p:nvGrpSpPr>
          <p:grpSpPr>
            <a:xfrm>
              <a:off x="6141820" y="4337703"/>
              <a:ext cx="1280323" cy="137161"/>
              <a:chOff x="5806617" y="3287909"/>
              <a:chExt cx="1280323" cy="137161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2DE4D7B-B11B-F6A1-35B0-5B5196A242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714635B-797B-D99C-AA07-8BF466313FC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F0E20C56-68BB-303A-7D40-43FC441B3FA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B5F1925C-E7F0-00D8-C798-AB46C9BB62DB}"/>
                </a:ext>
              </a:extLst>
            </p:cNvPr>
            <p:cNvSpPr txBox="1"/>
            <p:nvPr/>
          </p:nvSpPr>
          <p:spPr>
            <a:xfrm>
              <a:off x="5657495" y="5510884"/>
              <a:ext cx="1101584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5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5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00B050"/>
                  </a:solidFill>
                </a:rPr>
                <a:t>Y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9EC1B8E-BF92-8B22-6101-8C4D0DB4CEFC}"/>
              </a:ext>
            </a:extLst>
          </p:cNvPr>
          <p:cNvGrpSpPr/>
          <p:nvPr/>
        </p:nvGrpSpPr>
        <p:grpSpPr>
          <a:xfrm>
            <a:off x="7932027" y="2688429"/>
            <a:ext cx="3161849" cy="4121324"/>
            <a:chOff x="7998489" y="2264643"/>
            <a:chExt cx="3161849" cy="4121324"/>
          </a:xfrm>
        </p:grpSpPr>
        <p:sp>
          <p:nvSpPr>
            <p:cNvPr id="145" name="Rectangle: Rounded Corners 144">
              <a:extLst>
                <a:ext uri="{FF2B5EF4-FFF2-40B4-BE49-F238E27FC236}">
                  <a16:creationId xmlns:a16="http://schemas.microsoft.com/office/drawing/2014/main" id="{4EC38C35-A056-555A-DFA7-AA7B648588F1}"/>
                </a:ext>
              </a:extLst>
            </p:cNvPr>
            <p:cNvSpPr/>
            <p:nvPr/>
          </p:nvSpPr>
          <p:spPr>
            <a:xfrm>
              <a:off x="7998489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02E49DB-BD4E-1CCF-CCCD-9E76F910C28B}"/>
                </a:ext>
              </a:extLst>
            </p:cNvPr>
            <p:cNvSpPr/>
            <p:nvPr/>
          </p:nvSpPr>
          <p:spPr>
            <a:xfrm>
              <a:off x="8279705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CE117E5-E637-0295-19D3-6C91CD2E0523}"/>
                </a:ext>
              </a:extLst>
            </p:cNvPr>
            <p:cNvSpPr/>
            <p:nvPr/>
          </p:nvSpPr>
          <p:spPr>
            <a:xfrm>
              <a:off x="8638293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698A0A7-0E62-A39F-5494-1BB3F7F10C33}"/>
                </a:ext>
              </a:extLst>
            </p:cNvPr>
            <p:cNvSpPr/>
            <p:nvPr/>
          </p:nvSpPr>
          <p:spPr>
            <a:xfrm>
              <a:off x="9732432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D1CBE261-6E1A-EAC7-12FE-4DCFBF8D5EC5}"/>
                </a:ext>
              </a:extLst>
            </p:cNvPr>
            <p:cNvSpPr/>
            <p:nvPr/>
          </p:nvSpPr>
          <p:spPr>
            <a:xfrm>
              <a:off x="10091020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5EB35DF-3DAA-87D2-C90E-2BDAFAA57B75}"/>
                </a:ext>
              </a:extLst>
            </p:cNvPr>
            <p:cNvSpPr/>
            <p:nvPr/>
          </p:nvSpPr>
          <p:spPr>
            <a:xfrm>
              <a:off x="9913017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8A8B568-EF6F-99AF-B662-7EC0DA459A58}"/>
                </a:ext>
              </a:extLst>
            </p:cNvPr>
            <p:cNvSpPr/>
            <p:nvPr/>
          </p:nvSpPr>
          <p:spPr>
            <a:xfrm>
              <a:off x="10271605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F8E5BD8-0AB2-CFC5-C9A3-19F0162E2210}"/>
                </a:ext>
              </a:extLst>
            </p:cNvPr>
            <p:cNvSpPr/>
            <p:nvPr/>
          </p:nvSpPr>
          <p:spPr>
            <a:xfrm>
              <a:off x="8618712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6B686EE-6654-2FB8-8D52-7919C9C49373}"/>
                </a:ext>
              </a:extLst>
            </p:cNvPr>
            <p:cNvSpPr/>
            <p:nvPr/>
          </p:nvSpPr>
          <p:spPr>
            <a:xfrm>
              <a:off x="8977300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8268BB26-AA5A-8F64-CAE2-F3F22C165EAB}"/>
                </a:ext>
              </a:extLst>
            </p:cNvPr>
            <p:cNvSpPr/>
            <p:nvPr/>
          </p:nvSpPr>
          <p:spPr>
            <a:xfrm>
              <a:off x="9489638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5419440-5AC0-B40A-973B-F01C5E497A53}"/>
                </a:ext>
              </a:extLst>
            </p:cNvPr>
            <p:cNvSpPr/>
            <p:nvPr/>
          </p:nvSpPr>
          <p:spPr>
            <a:xfrm>
              <a:off x="9848226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D2085F6-CD72-ECE8-2D09-34885F4EA73B}"/>
                </a:ext>
              </a:extLst>
            </p:cNvPr>
            <p:cNvSpPr txBox="1"/>
            <p:nvPr/>
          </p:nvSpPr>
          <p:spPr>
            <a:xfrm>
              <a:off x="8307107" y="4607907"/>
              <a:ext cx="28532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1 copies of cryptically spliced mRNA</a:t>
              </a:r>
            </a:p>
            <a:p>
              <a:r>
                <a:rPr lang="en-US" sz="1200" b="1"/>
                <a:t>4 copies degraded by NMD</a:t>
              </a: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1AE6D8E9-2D41-CB31-0F99-555CE3321170}"/>
                </a:ext>
              </a:extLst>
            </p:cNvPr>
            <p:cNvGrpSpPr/>
            <p:nvPr/>
          </p:nvGrpSpPr>
          <p:grpSpPr>
            <a:xfrm>
              <a:off x="8105338" y="3413980"/>
              <a:ext cx="1280323" cy="137161"/>
              <a:chOff x="5806617" y="3287909"/>
              <a:chExt cx="1280323" cy="137161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DBFC03BD-F22C-6092-ABE4-21D4ECAE0D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3ECFD9D5-0B90-2D73-5198-A1554386EE8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20FF1BA7-A9F6-B050-5979-CB3033B28CC1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E0E40354-6775-E5D7-EF07-9F5C9F5C080E}"/>
                </a:ext>
              </a:extLst>
            </p:cNvPr>
            <p:cNvGrpSpPr/>
            <p:nvPr/>
          </p:nvGrpSpPr>
          <p:grpSpPr>
            <a:xfrm>
              <a:off x="8388609" y="3787779"/>
              <a:ext cx="1280323" cy="137161"/>
              <a:chOff x="5806617" y="3287909"/>
              <a:chExt cx="1280323" cy="137161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EFEBA99F-70E8-0F57-D9F8-8EA2183E554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8112E72-C0B5-2496-0699-ED7B46E7121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F9BCB2CF-96B6-1B5E-89A1-55DDA34ADC7D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C87B0F-A5E9-43DF-10A3-06BE4E23CF46}"/>
                </a:ext>
              </a:extLst>
            </p:cNvPr>
            <p:cNvGrpSpPr/>
            <p:nvPr/>
          </p:nvGrpSpPr>
          <p:grpSpPr>
            <a:xfrm>
              <a:off x="8093798" y="4464901"/>
              <a:ext cx="1280323" cy="137161"/>
              <a:chOff x="5806617" y="3287909"/>
              <a:chExt cx="1280323" cy="137161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937C544-0751-3EDA-FAB6-4795B6FCAB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D015D394-2BA1-D29A-ED7F-5E3BE45D22BA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42EE343-AB6A-ADBB-887F-AA3075C0B0D9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A954AA12-1B93-5887-BB54-5CA5C649D5CD}"/>
                </a:ext>
              </a:extLst>
            </p:cNvPr>
            <p:cNvGrpSpPr/>
            <p:nvPr/>
          </p:nvGrpSpPr>
          <p:grpSpPr>
            <a:xfrm>
              <a:off x="9595935" y="4337703"/>
              <a:ext cx="1280323" cy="137161"/>
              <a:chOff x="5806617" y="3287909"/>
              <a:chExt cx="1280323" cy="137161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0F1DBB34-AA8F-D149-430F-ABCE1733354F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DBCB7719-1C2C-07BF-420F-D2A280CEAD53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B8F4322D-AD00-39E9-E978-6BFE5C1B250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77" name="Decagon 176">
              <a:extLst>
                <a:ext uri="{FF2B5EF4-FFF2-40B4-BE49-F238E27FC236}">
                  <a16:creationId xmlns:a16="http://schemas.microsoft.com/office/drawing/2014/main" id="{6104CEEB-9CF3-7B5C-3944-654238134141}"/>
                </a:ext>
              </a:extLst>
            </p:cNvPr>
            <p:cNvSpPr/>
            <p:nvPr/>
          </p:nvSpPr>
          <p:spPr>
            <a:xfrm>
              <a:off x="10262079" y="4145136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591A8521-7F21-BF71-4018-9FB13E773C4B}"/>
                </a:ext>
              </a:extLst>
            </p:cNvPr>
            <p:cNvSpPr/>
            <p:nvPr/>
          </p:nvSpPr>
          <p:spPr>
            <a:xfrm>
              <a:off x="10325355" y="4293233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Decagon 178">
              <a:extLst>
                <a:ext uri="{FF2B5EF4-FFF2-40B4-BE49-F238E27FC236}">
                  <a16:creationId xmlns:a16="http://schemas.microsoft.com/office/drawing/2014/main" id="{B13E9C15-665D-D9EB-27DB-BA0F8AF84F4C}"/>
                </a:ext>
              </a:extLst>
            </p:cNvPr>
            <p:cNvSpPr/>
            <p:nvPr/>
          </p:nvSpPr>
          <p:spPr>
            <a:xfrm>
              <a:off x="8750556" y="321459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085BD112-3220-0881-D67E-FC537754B86D}"/>
                </a:ext>
              </a:extLst>
            </p:cNvPr>
            <p:cNvSpPr/>
            <p:nvPr/>
          </p:nvSpPr>
          <p:spPr>
            <a:xfrm>
              <a:off x="8813832" y="336268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Decagon 182">
              <a:extLst>
                <a:ext uri="{FF2B5EF4-FFF2-40B4-BE49-F238E27FC236}">
                  <a16:creationId xmlns:a16="http://schemas.microsoft.com/office/drawing/2014/main" id="{D6C101C1-6EFE-2F88-6CCD-537995948511}"/>
                </a:ext>
              </a:extLst>
            </p:cNvPr>
            <p:cNvSpPr/>
            <p:nvPr/>
          </p:nvSpPr>
          <p:spPr>
            <a:xfrm>
              <a:off x="8802978" y="426701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8346208-71A3-3D88-92A0-AC490CB45E27}"/>
                </a:ext>
              </a:extLst>
            </p:cNvPr>
            <p:cNvSpPr/>
            <p:nvPr/>
          </p:nvSpPr>
          <p:spPr>
            <a:xfrm>
              <a:off x="8866254" y="441511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Decagon 184">
              <a:extLst>
                <a:ext uri="{FF2B5EF4-FFF2-40B4-BE49-F238E27FC236}">
                  <a16:creationId xmlns:a16="http://schemas.microsoft.com/office/drawing/2014/main" id="{5BCF7D7D-A6F2-37A1-1F26-DF91F7FFBDFA}"/>
                </a:ext>
              </a:extLst>
            </p:cNvPr>
            <p:cNvSpPr/>
            <p:nvPr/>
          </p:nvSpPr>
          <p:spPr>
            <a:xfrm>
              <a:off x="9897935" y="295757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6616F3B-B25B-8D0A-482C-8200C00D4086}"/>
                </a:ext>
              </a:extLst>
            </p:cNvPr>
            <p:cNvSpPr/>
            <p:nvPr/>
          </p:nvSpPr>
          <p:spPr>
            <a:xfrm>
              <a:off x="9961211" y="310566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47CB448-5E97-70F6-EA61-9C436B870472}"/>
                </a:ext>
              </a:extLst>
            </p:cNvPr>
            <p:cNvSpPr/>
            <p:nvPr/>
          </p:nvSpPr>
          <p:spPr>
            <a:xfrm>
              <a:off x="8079524" y="3204144"/>
              <a:ext cx="1368556" cy="431978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E49C7A17-6167-BD77-3935-FC2CFB5DF2B1}"/>
                </a:ext>
              </a:extLst>
            </p:cNvPr>
            <p:cNvSpPr/>
            <p:nvPr/>
          </p:nvSpPr>
          <p:spPr>
            <a:xfrm>
              <a:off x="8068755" y="4258924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FD0CA0F0-CC15-C3FE-6FDF-4684A4846936}"/>
                </a:ext>
              </a:extLst>
            </p:cNvPr>
            <p:cNvGrpSpPr/>
            <p:nvPr/>
          </p:nvGrpSpPr>
          <p:grpSpPr>
            <a:xfrm>
              <a:off x="9198795" y="3148514"/>
              <a:ext cx="1280323" cy="137161"/>
              <a:chOff x="5806617" y="3287909"/>
              <a:chExt cx="1280323" cy="137161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AFD92EA2-66D7-6CF1-FAB3-247B071CD81C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35E96AB3-7DCB-6874-E1DD-3496E415BEF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DCE036D6-1E09-BFCB-57D2-B3E80D5666DB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26016AF5-E9B5-8ECA-B45D-D9E7C2688665}"/>
                </a:ext>
              </a:extLst>
            </p:cNvPr>
            <p:cNvSpPr/>
            <p:nvPr/>
          </p:nvSpPr>
          <p:spPr>
            <a:xfrm>
              <a:off x="9140300" y="2951993"/>
              <a:ext cx="1458248" cy="413096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Decagon 180">
              <a:extLst>
                <a:ext uri="{FF2B5EF4-FFF2-40B4-BE49-F238E27FC236}">
                  <a16:creationId xmlns:a16="http://schemas.microsoft.com/office/drawing/2014/main" id="{A62B565A-0D5D-C9FA-72EB-D6E05AC907C8}"/>
                </a:ext>
              </a:extLst>
            </p:cNvPr>
            <p:cNvSpPr/>
            <p:nvPr/>
          </p:nvSpPr>
          <p:spPr>
            <a:xfrm>
              <a:off x="9082744" y="358518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DBED09D0-DB54-ABEF-0AA1-9DD9FE30697B}"/>
                </a:ext>
              </a:extLst>
            </p:cNvPr>
            <p:cNvSpPr/>
            <p:nvPr/>
          </p:nvSpPr>
          <p:spPr>
            <a:xfrm>
              <a:off x="9146020" y="373328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51A0D138-CB29-64A4-0CBB-8DBD70B5B11E}"/>
                </a:ext>
              </a:extLst>
            </p:cNvPr>
            <p:cNvSpPr/>
            <p:nvPr/>
          </p:nvSpPr>
          <p:spPr>
            <a:xfrm>
              <a:off x="8367003" y="3577921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02001D39-C7CB-0884-CF83-7801E34440FF}"/>
                </a:ext>
              </a:extLst>
            </p:cNvPr>
            <p:cNvSpPr txBox="1"/>
            <p:nvPr/>
          </p:nvSpPr>
          <p:spPr>
            <a:xfrm>
              <a:off x="8550733" y="2264643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promotes NMD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18938B11-F87F-F95F-6599-8490BA03D74E}"/>
                </a:ext>
              </a:extLst>
            </p:cNvPr>
            <p:cNvSpPr txBox="1"/>
            <p:nvPr/>
          </p:nvSpPr>
          <p:spPr>
            <a:xfrm>
              <a:off x="9003578" y="5462637"/>
              <a:ext cx="121860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16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16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FF0000"/>
                  </a:solidFill>
                </a:rPr>
                <a:t>No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0A6D847-1F46-9B88-A80C-D537D8807DCD}"/>
              </a:ext>
            </a:extLst>
          </p:cNvPr>
          <p:cNvSpPr txBox="1"/>
          <p:nvPr/>
        </p:nvSpPr>
        <p:spPr>
          <a:xfrm>
            <a:off x="235521" y="6481998"/>
            <a:ext cx="2343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oon Plots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E53C8-6B88-6285-E550-654401E49B58}"/>
              </a:ext>
            </a:extLst>
          </p:cNvPr>
          <p:cNvSpPr txBox="1">
            <a:spLocks/>
          </p:cNvSpPr>
          <p:nvPr/>
        </p:nvSpPr>
        <p:spPr>
          <a:xfrm>
            <a:off x="2116" y="-12216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bg1"/>
                </a:solidFill>
              </a:rPr>
              <a:t>DSG analysis under in the NMD condition</a:t>
            </a:r>
          </a:p>
        </p:txBody>
      </p:sp>
    </p:spTree>
    <p:extLst>
      <p:ext uri="{BB962C8B-B14F-4D97-AF65-F5344CB8AC3E}">
        <p14:creationId xmlns:p14="http://schemas.microsoft.com/office/powerpoint/2010/main" val="304626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6" y="13447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191080"/>
            <a:ext cx="5326595" cy="53265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F7D7509-3D4A-BB17-7A87-49BABF02A22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81</TotalTime>
  <Words>754</Words>
  <Application>Microsoft Macintosh PowerPoint</Application>
  <PresentationFormat>Widescreen</PresentationFormat>
  <Paragraphs>311</Paragraphs>
  <Slides>2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-apple-system</vt:lpstr>
      <vt:lpstr>Arial</vt:lpstr>
      <vt:lpstr>Arial Narrow</vt:lpstr>
      <vt:lpstr>Calibri</vt:lpstr>
      <vt:lpstr>Calibri Light</vt:lpstr>
      <vt:lpstr>Robo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sashimi-plots: Compound 6152</vt:lpstr>
      <vt:lpstr>It looks more than poison exon spicing i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ounds consistency</vt:lpstr>
      <vt:lpstr>Compounds consisten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13</cp:revision>
  <dcterms:created xsi:type="dcterms:W3CDTF">2023-04-24T14:22:28Z</dcterms:created>
  <dcterms:modified xsi:type="dcterms:W3CDTF">2023-09-27T15:05:36Z</dcterms:modified>
</cp:coreProperties>
</file>